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custDataLst>
    <p:tags r:id="rId5"/>
  </p:custDataLst>
  <p:defaultTextStyle>
    <a:defPPr>
      <a:defRPr lang="en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40"/>
  </p:normalViewPr>
  <p:slideViewPr>
    <p:cSldViewPr snapToGrid="0">
      <p:cViewPr>
        <p:scale>
          <a:sx n="106" d="100"/>
          <a:sy n="106" d="100"/>
        </p:scale>
        <p:origin x="69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10569105691057E-2"/>
          <c:y val="0.19402985074626866"/>
          <c:w val="0.96617886178861789"/>
          <c:h val="0.668798862828713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1613361762615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95-3145-BC3B-EF44FA13A65E}"/>
                </c:ext>
              </c:extLst>
            </c:dLbl>
            <c:dLbl>
              <c:idx val="1"/>
              <c:layout>
                <c:manualLayout>
                  <c:x val="0"/>
                  <c:y val="-7.88912579957356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95-3145-BC3B-EF44FA13A65E}"/>
                </c:ext>
              </c:extLst>
            </c:dLbl>
            <c:dLbl>
              <c:idx val="2"/>
              <c:layout>
                <c:manualLayout>
                  <c:x val="0"/>
                  <c:y val="-7.889125799573561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895-3145-BC3B-EF44FA13A6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1.91</c:v>
                </c:pt>
                <c:pt idx="1">
                  <c:v>1.45</c:v>
                </c:pt>
                <c:pt idx="2">
                  <c:v>1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95-3145-BC3B-EF44FA13A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9458736"/>
        <c:axId val="1"/>
      </c:barChart>
      <c:catAx>
        <c:axId val="1179458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.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9458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7.2423398328690811E-2"/>
          <c:w val="0.96830234684547389"/>
          <c:h val="0.85515320334261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4649694.3993808031</c:v>
                </c:pt>
                <c:pt idx="1">
                  <c:v>4729248.3993808031</c:v>
                </c:pt>
                <c:pt idx="2">
                  <c:v>4938866.3993808031</c:v>
                </c:pt>
                <c:pt idx="3">
                  <c:v>8410103.3993808031</c:v>
                </c:pt>
                <c:pt idx="4">
                  <c:v>9810695.3993808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E6-9E45-BDDD-345A554807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3940320"/>
        <c:axId val="1"/>
      </c:barChart>
      <c:catAx>
        <c:axId val="543940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10695.39938080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394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7.2423398328690811E-2"/>
          <c:w val="0.96830234684547389"/>
          <c:h val="0.855153203342618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65.77399380804945</c:v>
                </c:pt>
                <c:pt idx="1">
                  <c:v>269.77399380804945</c:v>
                </c:pt>
                <c:pt idx="2">
                  <c:v>281.77399380804945</c:v>
                </c:pt>
                <c:pt idx="3">
                  <c:v>480.77399380804945</c:v>
                </c:pt>
                <c:pt idx="4">
                  <c:v>560.77399380804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8F-F745-833C-D3B89DC933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8978704"/>
        <c:axId val="1"/>
      </c:barChart>
      <c:catAx>
        <c:axId val="508978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60.773993808049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8978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6.7885117493472591E-2"/>
          <c:w val="0.96830234684547389"/>
          <c:h val="0.864229765013054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43743</c:v>
                </c:pt>
                <c:pt idx="1">
                  <c:v>43550</c:v>
                </c:pt>
                <c:pt idx="2">
                  <c:v>43707</c:v>
                </c:pt>
                <c:pt idx="3">
                  <c:v>37174</c:v>
                </c:pt>
                <c:pt idx="4">
                  <c:v>35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70-D74F-B5AB-5028FD0F02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5573504"/>
        <c:axId val="1"/>
      </c:barChart>
      <c:catAx>
        <c:axId val="745573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7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5573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6.7885117493472591E-2"/>
          <c:w val="0.96830234684547389"/>
          <c:h val="0.864229765013054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7509</c:v>
                </c:pt>
                <c:pt idx="1">
                  <c:v>56983</c:v>
                </c:pt>
                <c:pt idx="2">
                  <c:v>54930</c:v>
                </c:pt>
                <c:pt idx="3">
                  <c:v>26694</c:v>
                </c:pt>
                <c:pt idx="4">
                  <c:v>24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D-A547-9DFA-2DD64612D5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6332992"/>
        <c:axId val="1"/>
      </c:barChart>
      <c:catAx>
        <c:axId val="746332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50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6332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42678-2A1A-0B4A-AF7D-CBF34F30E4A3}" type="datetimeFigureOut">
              <a:rPr lang="en-GB" smtClean="0"/>
              <a:t>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7675F9-4B94-0640-8D7D-0C22D4410E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184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7675F9-4B94-0640-8D7D-0C22D4410E5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483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8AC93-F605-A4F8-F5C5-11D437D04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38ECF-26BE-B708-BD61-F9EBE81F5F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5FC38F-2426-1D10-CB2B-26D7692C6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7C64A4-0A72-9FAD-F118-CF6385619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97EC78-09D3-BD2E-3983-600527379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734358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B80FC-B8B8-53C3-6FBF-CF1BF6678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2B67BC-CE57-D367-33E8-58F45C96E4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97106C-4871-C7B4-7930-D72D329E0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5874EE-6100-2A55-45A2-1218E7DB9C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EC1D7-1572-E501-1A08-A3A560F3F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4285572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EFA53D-E443-200A-FB03-CBBB793CC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D308AB-3649-10CC-D3F6-6CFC7C11F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C1973-DE48-FB6F-0880-4C3091170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389809-BD30-907F-E0F9-CC67DB16F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72C84C-83B5-9272-9A37-2876F1142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108008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F7376-E06E-0D71-F35D-4B999283A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2E4909-C2F8-A3BC-F4A7-12B42D61AC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64B38B-6DE2-8D69-86A2-1C916FD261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796A5-2D4F-C52C-6E1C-F66074D6B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9647B6-BEB0-6D33-127B-228EB90D5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589232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241D4-F8D0-62B5-5693-0A7477DF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B47590-2D03-BD0C-99C7-F6E83A68FC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DA034A-DDFF-FBDC-D711-5D206BC8D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C5B998-4609-3668-D355-3180146E6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3BAF8A-BAC3-E2B2-9B9C-D92FD6DA1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487811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8D8DF-8244-9985-0E83-599A9B93B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A072F-5139-312F-C943-6AB40BA315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8E7C1F-0B89-0267-F033-BA91A7ED5B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C0E0F9-18CB-AC7A-0FFC-B85A18CC5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C60AFF-83B0-B58E-4143-E8716066C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DFC596-F157-605C-32EF-E45907582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736359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EBA0C-DF06-1BAB-0475-9CE47037C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9634CB-5732-FE17-443E-CE30212F15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998B70-F802-693B-9B62-D4B50EEE0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560647-2F66-9E70-A268-ED252B018D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E37606-A68B-AC51-CD8E-7900F91E65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279CD1-0795-4E21-DA7C-CB1D07612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ACAFF6-DF4F-2ADA-6165-6EE03E353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9A494E-F1C8-0A53-DF65-46D237917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273541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85098-7BA4-78DE-A4E3-AD4653F11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6AF75F-4D37-63FD-0339-BA58446E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AC730E-FC0C-F91C-507F-7F2D549F8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ECA08B-795F-E232-3B5A-ACDCD801D6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585825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5255E7-D7E7-23EC-D81A-1136A2BB7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559BE5-AB36-0038-5F83-B89DE5864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EA3804-D47A-4851-72B4-0D0059153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01041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D728F-9693-11F7-B676-10084AB9A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72BB07-E8C2-1188-2FA2-969345CCCF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FBA60C-4196-B10C-FB36-AFB448E687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187284-2BBC-9BF9-A0A8-5DC42914D3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3502DE-C704-ABA8-5EFE-E5041790F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FF4F1F-3765-5AD5-9FBD-F6ECCCDC6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3748637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D2D47-C794-439A-ED39-81214404D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E64862-FDB4-46FC-06DA-E0718CF744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CE8D25-B1FA-4FCF-CCC4-3675C68D1E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255210-B5D7-6405-ADC5-F0E82BCC8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672827-8235-2533-190B-594631682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49D611-8DEC-08EA-A84F-9DE218EA5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15339621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1ADDA07-F133-8E09-291E-0C4D98DA7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417138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C6C6115-5C53-CC16-6D06-B56ADAB28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1C8B9-1FB0-AC3F-B42E-4E3654020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36F3C-A501-4727-A322-B5BF200A1F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1A7E678-9365-7A41-BFEB-377C17C82E35}" type="datetimeFigureOut">
              <a:rPr lang="en-BR" smtClean="0"/>
              <a:t>08/05/25</a:t>
            </a:fld>
            <a:endParaRPr lang="en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A08D7E-59CD-C9FA-4A98-A30B1A32C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8AF354-EC02-BD71-2E1E-54993170C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EA7B66C-0001-AE41-BC96-837A64048E00}" type="slidenum">
              <a:rPr lang="en-BR" smtClean="0"/>
              <a:t>‹#›</a:t>
            </a:fld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836123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21" Type="http://schemas.openxmlformats.org/officeDocument/2006/relationships/tags" Target="../tags/tag34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84" Type="http://schemas.openxmlformats.org/officeDocument/2006/relationships/chart" Target="../charts/chart2.xml"/><Relationship Id="rId16" Type="http://schemas.openxmlformats.org/officeDocument/2006/relationships/tags" Target="../tags/tag29.xml"/><Relationship Id="rId11" Type="http://schemas.openxmlformats.org/officeDocument/2006/relationships/tags" Target="../tags/tag24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74" Type="http://schemas.openxmlformats.org/officeDocument/2006/relationships/tags" Target="../tags/tag87.xml"/><Relationship Id="rId79" Type="http://schemas.openxmlformats.org/officeDocument/2006/relationships/tags" Target="../tags/tag92.xml"/><Relationship Id="rId5" Type="http://schemas.openxmlformats.org/officeDocument/2006/relationships/tags" Target="../tags/tag18.xml"/><Relationship Id="rId19" Type="http://schemas.openxmlformats.org/officeDocument/2006/relationships/tags" Target="../tags/tag3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tags" Target="../tags/tag90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slideLayout" Target="../slideLayouts/slideLayout2.xml"/><Relationship Id="rId85" Type="http://schemas.openxmlformats.org/officeDocument/2006/relationships/chart" Target="../charts/chart3.xml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83" Type="http://schemas.openxmlformats.org/officeDocument/2006/relationships/image" Target="../media/image3.emf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81" Type="http://schemas.openxmlformats.org/officeDocument/2006/relationships/notesSlide" Target="../notesSlides/notesSlide1.xml"/><Relationship Id="rId86" Type="http://schemas.openxmlformats.org/officeDocument/2006/relationships/chart" Target="../charts/chart4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Relationship Id="rId34" Type="http://schemas.openxmlformats.org/officeDocument/2006/relationships/tags" Target="../tags/tag47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76" Type="http://schemas.openxmlformats.org/officeDocument/2006/relationships/tags" Target="../tags/tag89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2" Type="http://schemas.openxmlformats.org/officeDocument/2006/relationships/tags" Target="../tags/tag15.xml"/><Relationship Id="rId29" Type="http://schemas.openxmlformats.org/officeDocument/2006/relationships/tags" Target="../tags/tag42.xml"/><Relationship Id="rId24" Type="http://schemas.openxmlformats.org/officeDocument/2006/relationships/tags" Target="../tags/tag37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66" Type="http://schemas.openxmlformats.org/officeDocument/2006/relationships/tags" Target="../tags/tag79.xml"/><Relationship Id="rId87" Type="http://schemas.openxmlformats.org/officeDocument/2006/relationships/chart" Target="../charts/chart5.xml"/><Relationship Id="rId61" Type="http://schemas.openxmlformats.org/officeDocument/2006/relationships/tags" Target="../tags/tag74.xml"/><Relationship Id="rId82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8FE7F08-BAF2-50B2-DCE4-DFA37E1710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2408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4FAFF515-05FF-A231-4FD8-8442D13CFD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655083"/>
              </p:ext>
            </p:extLst>
          </p:nvPr>
        </p:nvGraphicFramePr>
        <p:xfrm>
          <a:off x="6562725" y="585788"/>
          <a:ext cx="4881563" cy="2233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F2B8FC1-81A8-5915-AFC0-7C0A9351EB8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002713" y="2008188"/>
            <a:ext cx="15732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AB2E237-B9A9-60CD-997C-C2AE250687A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9002713" y="2008189"/>
            <a:ext cx="0" cy="150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E044841-6693-959F-8FBE-C020E6A522E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575925" y="20081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F041246-3001-5EA7-42D1-CA03245D456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9947275" y="2571750"/>
            <a:ext cx="12588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B32D537-F6D4-465B-8D70-9C19E687D084}" type="datetime'B''ender''s ''Par''all''el (''4'''' ''threa''''d''''''''s'')'">
              <a:rPr lang="en-GB" altLang="en-US" sz="1400" smtClean="0"/>
              <a:pPr/>
              <a:t>Benders Parallel (4 threads)</a:t>
            </a:fld>
            <a:endParaRPr lang="en-GB" sz="140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CAEBAD66-FF73-89F2-B04B-C3AC3BDF3A3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870700" y="2571750"/>
            <a:ext cx="1122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DBECA8D-B1F4-44C8-B0F2-C20AA2F8487A}" type="datetime'''Be''''n''d''''''e''''r''''''''''''s'''''''' N''''a''ïv''e'''">
              <a:rPr lang="en-GB" altLang="en-US" sz="1400" smtClean="0"/>
              <a:pPr/>
              <a:t>Benders Naïve</a:t>
            </a:fld>
            <a:endParaRPr lang="en-GB" sz="14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A2A255F-064D-3622-B22A-7F4C3CE52DF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8591550" y="2571750"/>
            <a:ext cx="8239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22A1848-6041-4279-8132-CEFA37E0C784}" type="datetime'''''''F''u''''''l''''''''l ''''''''''mo''''''''de''''l'''">
              <a:rPr lang="en-GB" altLang="en-US" sz="1400" smtClean="0"/>
              <a:pPr/>
              <a:t>Full model</a:t>
            </a:fld>
            <a:endParaRPr lang="en-GB" sz="14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C526514F-0EE6-C692-A0AB-8C0973D6BEE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572625" y="1871663"/>
            <a:ext cx="431800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4A9D5B-94D9-432F-8562-294BC129B43A}" type="datetime'''''''''''-''3''''''''''''''''''''''''''''''''''''''''%'''">
              <a:rPr lang="en-GB" altLang="en-US" sz="1400" b="1" smtClean="0">
                <a:effectLst/>
              </a:rPr>
              <a:pPr/>
              <a:t>-3%</a:t>
            </a:fld>
            <a:endParaRPr lang="en-GB" sz="1400" b="1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0376B76-F2FF-7F84-E82D-B847D22AF815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880600" y="1090613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59410C6B-9974-ED93-2F6E-6EAEA3CC01A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0182226" y="1101725"/>
            <a:ext cx="879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78137C45-1037-456D-A2E8-960203DCE191}" type="datetime'''''R''''''u''''''''''''n''''t''''i''''me ''''(''''s'''')'''''">
              <a:rPr lang="en-GB" altLang="en-US" sz="1400" smtClean="0"/>
              <a:pPr/>
              <a:t>Runtime (s)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520451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9C10BC0-B77F-F5B3-96D4-3388F4AF8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7076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7772400" imgH="10058400" progId="TCLayout.ActiveDocument.1">
                  <p:embed/>
                </p:oleObj>
              </mc:Choice>
              <mc:Fallback>
                <p:oleObj name="think-cell Slide" r:id="rId8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1" name="Chart 430">
            <a:extLst>
              <a:ext uri="{FF2B5EF4-FFF2-40B4-BE49-F238E27FC236}">
                <a16:creationId xmlns:a16="http://schemas.microsoft.com/office/drawing/2014/main" id="{4AF1D351-BC0C-5DA2-C58A-9EF8BFA43BF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318128"/>
              </p:ext>
            </p:extLst>
          </p:nvPr>
        </p:nvGraphicFramePr>
        <p:xfrm>
          <a:off x="885825" y="2060575"/>
          <a:ext cx="5208588" cy="113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sp useBgFill="1">
        <p:nvSpPr>
          <p:cNvPr id="165" name="Freeform 164">
            <a:extLst>
              <a:ext uri="{FF2B5EF4-FFF2-40B4-BE49-F238E27FC236}">
                <a16:creationId xmlns:a16="http://schemas.microsoft.com/office/drawing/2014/main" id="{92A31838-9398-4219-7107-4616AA12D43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146300" y="2768600"/>
            <a:ext cx="669925" cy="238125"/>
          </a:xfrm>
          <a:custGeom>
            <a:avLst/>
            <a:gdLst/>
            <a:ahLst/>
            <a:cxnLst/>
            <a:rect l="0" t="0" r="0" b="0"/>
            <a:pathLst>
              <a:path w="669926" h="238126">
                <a:moveTo>
                  <a:pt x="0" y="180975"/>
                </a:moveTo>
                <a:lnTo>
                  <a:pt x="669925" y="0"/>
                </a:lnTo>
                <a:lnTo>
                  <a:pt x="669925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168" name="Freeform 167">
            <a:extLst>
              <a:ext uri="{FF2B5EF4-FFF2-40B4-BE49-F238E27FC236}">
                <a16:creationId xmlns:a16="http://schemas.microsoft.com/office/drawing/2014/main" id="{5261EBC1-A3FA-11C8-C873-3F54E62498B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55950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8">
                <a:moveTo>
                  <a:pt x="0" y="179387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7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162" name="Freeform 161">
            <a:extLst>
              <a:ext uri="{FF2B5EF4-FFF2-40B4-BE49-F238E27FC236}">
                <a16:creationId xmlns:a16="http://schemas.microsoft.com/office/drawing/2014/main" id="{33AF674C-E839-D52F-7E87-440017F75F6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38238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9" h="236538">
                <a:moveTo>
                  <a:pt x="0" y="179387"/>
                </a:moveTo>
                <a:lnTo>
                  <a:pt x="668338" y="0"/>
                </a:lnTo>
                <a:lnTo>
                  <a:pt x="668338" y="57150"/>
                </a:lnTo>
                <a:lnTo>
                  <a:pt x="0" y="236537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171" name="Freeform 170">
            <a:extLst>
              <a:ext uri="{FF2B5EF4-FFF2-40B4-BE49-F238E27FC236}">
                <a16:creationId xmlns:a16="http://schemas.microsoft.com/office/drawing/2014/main" id="{ED0CE6B0-A83F-1237-C711-9FDE5CDE897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164013" y="2768600"/>
            <a:ext cx="669925" cy="238125"/>
          </a:xfrm>
          <a:custGeom>
            <a:avLst/>
            <a:gdLst/>
            <a:ahLst/>
            <a:cxnLst/>
            <a:rect l="0" t="0" r="0" b="0"/>
            <a:pathLst>
              <a:path w="669926" h="238126">
                <a:moveTo>
                  <a:pt x="0" y="180975"/>
                </a:moveTo>
                <a:lnTo>
                  <a:pt x="669925" y="0"/>
                </a:lnTo>
                <a:lnTo>
                  <a:pt x="669925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174" name="Freeform 173">
            <a:extLst>
              <a:ext uri="{FF2B5EF4-FFF2-40B4-BE49-F238E27FC236}">
                <a16:creationId xmlns:a16="http://schemas.microsoft.com/office/drawing/2014/main" id="{1D7278DD-F21A-0509-8CC5-6D0C6E44388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173663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9" h="236538">
                <a:moveTo>
                  <a:pt x="0" y="179387"/>
                </a:moveTo>
                <a:lnTo>
                  <a:pt x="668338" y="0"/>
                </a:lnTo>
                <a:lnTo>
                  <a:pt x="668338" y="57150"/>
                </a:lnTo>
                <a:lnTo>
                  <a:pt x="0" y="236537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" name="Freeform 165">
            <a:extLst>
              <a:ext uri="{FF2B5EF4-FFF2-40B4-BE49-F238E27FC236}">
                <a16:creationId xmlns:a16="http://schemas.microsoft.com/office/drawing/2014/main" id="{66FF9F89-AF8A-1739-D338-A72E4A5DEB0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155950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3" name="Freeform 172">
            <a:extLst>
              <a:ext uri="{FF2B5EF4-FFF2-40B4-BE49-F238E27FC236}">
                <a16:creationId xmlns:a16="http://schemas.microsoft.com/office/drawing/2014/main" id="{9CD1B3BB-EDFF-4BF3-5648-78E3EC97568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173663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2" name="Freeform 171">
            <a:extLst>
              <a:ext uri="{FF2B5EF4-FFF2-40B4-BE49-F238E27FC236}">
                <a16:creationId xmlns:a16="http://schemas.microsoft.com/office/drawing/2014/main" id="{03991D3A-A3DD-F4CC-A1B9-08341574C85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173663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0" name="Freeform 159">
            <a:extLst>
              <a:ext uri="{FF2B5EF4-FFF2-40B4-BE49-F238E27FC236}">
                <a16:creationId xmlns:a16="http://schemas.microsoft.com/office/drawing/2014/main" id="{29911890-A1D6-DD13-2DB4-D97CA615425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138238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7" name="Freeform 166">
            <a:extLst>
              <a:ext uri="{FF2B5EF4-FFF2-40B4-BE49-F238E27FC236}">
                <a16:creationId xmlns:a16="http://schemas.microsoft.com/office/drawing/2014/main" id="{C5CFFCDA-6CC4-3F8A-3623-177A6233BF6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155950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" name="Freeform 160">
            <a:extLst>
              <a:ext uri="{FF2B5EF4-FFF2-40B4-BE49-F238E27FC236}">
                <a16:creationId xmlns:a16="http://schemas.microsoft.com/office/drawing/2014/main" id="{20144334-B4D4-65FD-42E9-38CF3773B27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138238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9" name="Freeform 168">
            <a:extLst>
              <a:ext uri="{FF2B5EF4-FFF2-40B4-BE49-F238E27FC236}">
                <a16:creationId xmlns:a16="http://schemas.microsoft.com/office/drawing/2014/main" id="{CB3D4081-B15F-1323-B1F3-198F7FD0762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164013" y="276860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3" name="Freeform 162">
            <a:extLst>
              <a:ext uri="{FF2B5EF4-FFF2-40B4-BE49-F238E27FC236}">
                <a16:creationId xmlns:a16="http://schemas.microsoft.com/office/drawing/2014/main" id="{3A3D8850-6342-C027-EAFA-BB0A50DFBC2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146300" y="276860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4" name="Freeform 163">
            <a:extLst>
              <a:ext uri="{FF2B5EF4-FFF2-40B4-BE49-F238E27FC236}">
                <a16:creationId xmlns:a16="http://schemas.microsoft.com/office/drawing/2014/main" id="{E5897BF3-5BA1-5506-4FF0-AD193952A03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146300" y="282575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0" name="Freeform 169">
            <a:extLst>
              <a:ext uri="{FF2B5EF4-FFF2-40B4-BE49-F238E27FC236}">
                <a16:creationId xmlns:a16="http://schemas.microsoft.com/office/drawing/2014/main" id="{2CB59898-271F-71C1-89BA-0113E42E64E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164013" y="282575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D786492A-EEB7-CC99-14E3-1F15799D8FC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471613" y="1811339"/>
            <a:ext cx="0" cy="5889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13B676DC-2313-07DA-1E27-550EAC992F8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5507038" y="18113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74177FA3-C32F-547A-EABA-A184EC1DB6E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1471613" y="1811338"/>
            <a:ext cx="40354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B0AB79F9-CF7D-D60F-E834-2A59652EE31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3132138" y="3168650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872253F-D4E7-48AB-9186-81F9793C04CF}" type="datetime'S''''t''o''ch''''a''st''i''c'''' U''n''''iform'''''''''">
              <a:rPr lang="en-GB" altLang="en-US" sz="1200" smtClean="0"/>
              <a:pPr/>
              <a:t>Stochastic Uniform</a:t>
            </a:fld>
            <a:endParaRPr lang="en-GB" sz="12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48F3FE-54A5-B61F-06F5-1B6E538810E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124075" y="3168650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84612A-2E67-4976-9D08-25305DB46814}" type="datetime'''''St''ochast''''i''''c'''''' ''L''i''n''''''''e''''''''ar'''">
              <a:rPr lang="en-GB" altLang="en-US" sz="1200" smtClean="0"/>
              <a:pPr/>
              <a:t>Stochastic Linear</a:t>
            </a:fld>
            <a:endParaRPr lang="en-GB" sz="12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6BFAAB4-8AC4-7E93-16ED-31F52D80927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5243513" y="1925638"/>
            <a:ext cx="527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B1C8D-7875-4285-9CEA-5C1A561333D1}" type="datetime'''''1''''''''''''9''''''''''.''''''''''''5''''''''''''''''''M'">
              <a:rPr lang="en-GB" altLang="en-US" sz="1400" smtClean="0"/>
              <a:pPr/>
              <a:t>19.5M</a:t>
            </a:fld>
            <a:endParaRPr lang="en-GB" sz="14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A30EEA6-07A8-92F8-9214-DEB8DA884592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235450" y="2065338"/>
            <a:ext cx="527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7437C6-53EE-4448-B2FA-477F4E5D22DB}" type="datetime'''1''8''''''''''.''''''''''''''''''''''1''''''''''''''''''''M'">
              <a:rPr lang="en-GB" altLang="en-US" sz="1400" smtClean="0"/>
              <a:pPr/>
              <a:t>18.1M</a:t>
            </a:fld>
            <a:endParaRPr lang="en-GB" sz="14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C3C1D39E-FB75-5ED3-C8E6-8827CE636B5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3225800" y="2409825"/>
            <a:ext cx="527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7658C-CAE5-4FCA-BDA3-4846CE39C0A7}" type="datetime'1''4''''''''''''''''.''''''''7''''''''''''''M'">
              <a:rPr lang="en-GB" altLang="en-US" sz="1400" smtClean="0"/>
              <a:pPr/>
              <a:t>14.7M</a:t>
            </a:fld>
            <a:endParaRPr lang="en-GB" sz="1400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A9543CC-E376-14C4-658A-4ACE7A3FF7F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217738" y="2430463"/>
            <a:ext cx="527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289BAD-E57C-4A24-B5C3-552FB4B2DA88}" type="datetime'''''''''''''''''''''''''''1''''''''''4''''.''''''5''''''M'''''">
              <a:rPr lang="en-GB" altLang="en-US" sz="1400" smtClean="0"/>
              <a:pPr/>
              <a:t>14.5M</a:t>
            </a:fld>
            <a:endParaRPr lang="en-GB" sz="14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CD5FFCC-2303-004B-D42C-FECCA8CDAEE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62038" y="3168650"/>
            <a:ext cx="8191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A01269F-EF9D-431B-BECD-2FC81260A2B2}" type="datetime'Stocha''''''''s''''tic ''''E''x''p''on''en''''''''c''ial'">
              <a:rPr lang="en-GB" altLang="en-US" sz="1200" smtClean="0"/>
              <a:pPr/>
              <a:t>Stochastic Exponencial</a:t>
            </a:fld>
            <a:endParaRPr lang="en-GB" sz="120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77D94F6-356B-2005-5A64-C6B3892898DF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208088" y="2438400"/>
            <a:ext cx="527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EBD9CC-A62E-4199-9C0D-42A7D1717A28}" type="datetime'1''''''''''''4''''''''''''''.4''''''''''''''''''M'''''''''''">
              <a:rPr lang="en-GB" altLang="en-US" sz="1400" smtClean="0"/>
              <a:pPr/>
              <a:t>14.4M</a:t>
            </a:fld>
            <a:endParaRPr lang="en-GB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2D77AF2-EF93-9A14-D495-EB38B4D649C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5041900" y="3168650"/>
            <a:ext cx="930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69F1A0-D248-4C63-BDE6-5A15A4AFA985}" type="datetime'N''o''''-''dis''r''''u''pt''io''n ''(''''basel''in''''''e'')'">
              <a:rPr lang="en-GB" altLang="en-US" sz="1200" smtClean="0"/>
              <a:pPr/>
              <a:t>No-disruption (baseline)</a:t>
            </a:fld>
            <a:endParaRPr lang="en-GB" sz="12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172F31E-28E5-2439-8AD2-FDEC12EA68E0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3995738" y="3168650"/>
            <a:ext cx="10080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54B57D-C4F3-4DA3-9A2C-81A748930B37}" type="datetime'''''''D''eter''''minis''t''ic ''(''las''''t h''''urricane'')'">
              <a:rPr lang="en-GB" altLang="en-US" sz="1200" smtClean="0"/>
              <a:pPr/>
              <a:t>Deterministic (last hurricane)</a:t>
            </a:fld>
            <a:endParaRPr lang="en-GB" sz="1200" dirty="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9182C534-5399-A7CF-3DE9-CD453805FCC3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3165475" y="1655763"/>
            <a:ext cx="647700" cy="3111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604307-0BB3-4CEA-A1FD-D11F82E0BE9A}" type="datetime'''''''''''-''''''''2''''''''''''6''''%'''''''''''''''''''">
              <a:rPr lang="en-GB" altLang="en-US" sz="1600" b="1" smtClean="0">
                <a:effectLst/>
              </a:rPr>
              <a:pPr/>
              <a:t>-26%</a:t>
            </a:fld>
            <a:endParaRPr lang="en-GB" sz="1600" b="1" dirty="0"/>
          </a:p>
        </p:txBody>
      </p:sp>
      <p:graphicFrame>
        <p:nvGraphicFramePr>
          <p:cNvPr id="429" name="Chart 428">
            <a:extLst>
              <a:ext uri="{FF2B5EF4-FFF2-40B4-BE49-F238E27FC236}">
                <a16:creationId xmlns:a16="http://schemas.microsoft.com/office/drawing/2014/main" id="{A333C247-4709-92EE-40BA-614C812159F2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530467837"/>
              </p:ext>
            </p:extLst>
          </p:nvPr>
        </p:nvGraphicFramePr>
        <p:xfrm>
          <a:off x="6602413" y="2060575"/>
          <a:ext cx="5208587" cy="113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sp useBgFill="1">
        <p:nvSpPr>
          <p:cNvPr id="270" name="Freeform 269">
            <a:extLst>
              <a:ext uri="{FF2B5EF4-FFF2-40B4-BE49-F238E27FC236}">
                <a16:creationId xmlns:a16="http://schemas.microsoft.com/office/drawing/2014/main" id="{4FB71235-9260-CD97-C254-25850CB2D86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0890250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9" h="236538">
                <a:moveTo>
                  <a:pt x="0" y="179387"/>
                </a:moveTo>
                <a:lnTo>
                  <a:pt x="668338" y="0"/>
                </a:lnTo>
                <a:lnTo>
                  <a:pt x="668338" y="57150"/>
                </a:lnTo>
                <a:lnTo>
                  <a:pt x="0" y="236537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267" name="Freeform 266">
            <a:extLst>
              <a:ext uri="{FF2B5EF4-FFF2-40B4-BE49-F238E27FC236}">
                <a16:creationId xmlns:a16="http://schemas.microsoft.com/office/drawing/2014/main" id="{6A2D5A05-1538-21A9-3F09-2D95EFAF8303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880601" y="2768600"/>
            <a:ext cx="669925" cy="238125"/>
          </a:xfrm>
          <a:custGeom>
            <a:avLst/>
            <a:gdLst/>
            <a:ahLst/>
            <a:cxnLst/>
            <a:rect l="0" t="0" r="0" b="0"/>
            <a:pathLst>
              <a:path w="669926" h="238126">
                <a:moveTo>
                  <a:pt x="0" y="180975"/>
                </a:moveTo>
                <a:lnTo>
                  <a:pt x="669925" y="0"/>
                </a:lnTo>
                <a:lnTo>
                  <a:pt x="669925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264" name="Freeform 263">
            <a:extLst>
              <a:ext uri="{FF2B5EF4-FFF2-40B4-BE49-F238E27FC236}">
                <a16:creationId xmlns:a16="http://schemas.microsoft.com/office/drawing/2014/main" id="{3661B1DE-F09F-18C9-7D2B-ED9E178B5238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872538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8" h="236538">
                <a:moveTo>
                  <a:pt x="0" y="179387"/>
                </a:moveTo>
                <a:lnTo>
                  <a:pt x="668337" y="0"/>
                </a:lnTo>
                <a:lnTo>
                  <a:pt x="668337" y="57150"/>
                </a:lnTo>
                <a:lnTo>
                  <a:pt x="0" y="236537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261" name="Freeform 260">
            <a:extLst>
              <a:ext uri="{FF2B5EF4-FFF2-40B4-BE49-F238E27FC236}">
                <a16:creationId xmlns:a16="http://schemas.microsoft.com/office/drawing/2014/main" id="{1192E733-75FB-DE03-0ADA-85DB16DACC8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862889" y="2768600"/>
            <a:ext cx="669925" cy="238125"/>
          </a:xfrm>
          <a:custGeom>
            <a:avLst/>
            <a:gdLst/>
            <a:ahLst/>
            <a:cxnLst/>
            <a:rect l="0" t="0" r="0" b="0"/>
            <a:pathLst>
              <a:path w="669926" h="238126">
                <a:moveTo>
                  <a:pt x="0" y="180975"/>
                </a:moveTo>
                <a:lnTo>
                  <a:pt x="669925" y="0"/>
                </a:lnTo>
                <a:lnTo>
                  <a:pt x="669925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 useBgFill="1">
        <p:nvSpPr>
          <p:cNvPr id="256" name="Freeform 255">
            <a:extLst>
              <a:ext uri="{FF2B5EF4-FFF2-40B4-BE49-F238E27FC236}">
                <a16:creationId xmlns:a16="http://schemas.microsoft.com/office/drawing/2014/main" id="{F0C88E7B-71F1-56CD-6BBB-20D114AEBC7C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854825" y="2770188"/>
            <a:ext cx="668338" cy="236538"/>
          </a:xfrm>
          <a:custGeom>
            <a:avLst/>
            <a:gdLst/>
            <a:ahLst/>
            <a:cxnLst/>
            <a:rect l="0" t="0" r="0" b="0"/>
            <a:pathLst>
              <a:path w="668339" h="236539">
                <a:moveTo>
                  <a:pt x="0" y="179388"/>
                </a:moveTo>
                <a:lnTo>
                  <a:pt x="668338" y="0"/>
                </a:lnTo>
                <a:lnTo>
                  <a:pt x="668338" y="57150"/>
                </a:lnTo>
                <a:lnTo>
                  <a:pt x="0" y="236538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9" name="Freeform 258">
            <a:extLst>
              <a:ext uri="{FF2B5EF4-FFF2-40B4-BE49-F238E27FC236}">
                <a16:creationId xmlns:a16="http://schemas.microsoft.com/office/drawing/2014/main" id="{6222EB40-24B8-028B-3926-565FB3F96B94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7862889" y="276860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2" name="Freeform 261">
            <a:extLst>
              <a:ext uri="{FF2B5EF4-FFF2-40B4-BE49-F238E27FC236}">
                <a16:creationId xmlns:a16="http://schemas.microsoft.com/office/drawing/2014/main" id="{EC4C83B9-C0A4-991C-8BDF-28E698787754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872538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9" name="Freeform 268">
            <a:extLst>
              <a:ext uri="{FF2B5EF4-FFF2-40B4-BE49-F238E27FC236}">
                <a16:creationId xmlns:a16="http://schemas.microsoft.com/office/drawing/2014/main" id="{86A8E44D-E028-572F-7668-2D06325A76A3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0890250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8" name="Freeform 267">
            <a:extLst>
              <a:ext uri="{FF2B5EF4-FFF2-40B4-BE49-F238E27FC236}">
                <a16:creationId xmlns:a16="http://schemas.microsoft.com/office/drawing/2014/main" id="{9C478C0C-B9B0-32DA-D789-5C8AB3AE60FC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0890250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8">
                <a:moveTo>
                  <a:pt x="0" y="179387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4" name="Freeform 253">
            <a:extLst>
              <a:ext uri="{FF2B5EF4-FFF2-40B4-BE49-F238E27FC236}">
                <a16:creationId xmlns:a16="http://schemas.microsoft.com/office/drawing/2014/main" id="{277DD74A-0CDE-33E9-0095-6CFAF9A909BC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6854825" y="277018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9">
                <a:moveTo>
                  <a:pt x="0" y="179388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5" name="Freeform 254">
            <a:extLst>
              <a:ext uri="{FF2B5EF4-FFF2-40B4-BE49-F238E27FC236}">
                <a16:creationId xmlns:a16="http://schemas.microsoft.com/office/drawing/2014/main" id="{0156C74F-7AD3-A1BD-CCC3-8AD96F9D9384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6854825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9" h="179389">
                <a:moveTo>
                  <a:pt x="0" y="179388"/>
                </a:moveTo>
                <a:lnTo>
                  <a:pt x="66833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6" name="Freeform 265">
            <a:extLst>
              <a:ext uri="{FF2B5EF4-FFF2-40B4-BE49-F238E27FC236}">
                <a16:creationId xmlns:a16="http://schemas.microsoft.com/office/drawing/2014/main" id="{650A2FD9-F1C7-E15F-FC4E-3657FF0379C0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880601" y="282575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5" name="Freeform 264">
            <a:extLst>
              <a:ext uri="{FF2B5EF4-FFF2-40B4-BE49-F238E27FC236}">
                <a16:creationId xmlns:a16="http://schemas.microsoft.com/office/drawing/2014/main" id="{0A92381B-1539-A2C1-5655-0413E465B7E4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880601" y="276860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0" name="Freeform 259">
            <a:extLst>
              <a:ext uri="{FF2B5EF4-FFF2-40B4-BE49-F238E27FC236}">
                <a16:creationId xmlns:a16="http://schemas.microsoft.com/office/drawing/2014/main" id="{197199B5-744A-0F95-1F45-9B89F1D7ECC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862889" y="2825750"/>
            <a:ext cx="669925" cy="180975"/>
          </a:xfrm>
          <a:custGeom>
            <a:avLst/>
            <a:gdLst/>
            <a:ahLst/>
            <a:cxnLst/>
            <a:rect l="0" t="0" r="0" b="0"/>
            <a:pathLst>
              <a:path w="669926" h="180976">
                <a:moveTo>
                  <a:pt x="0" y="180975"/>
                </a:moveTo>
                <a:lnTo>
                  <a:pt x="669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3" name="Freeform 262">
            <a:extLst>
              <a:ext uri="{FF2B5EF4-FFF2-40B4-BE49-F238E27FC236}">
                <a16:creationId xmlns:a16="http://schemas.microsoft.com/office/drawing/2014/main" id="{B3462021-B756-99B7-07D4-B51451A9E68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8872538" y="2827338"/>
            <a:ext cx="668338" cy="179388"/>
          </a:xfrm>
          <a:custGeom>
            <a:avLst/>
            <a:gdLst/>
            <a:ahLst/>
            <a:cxnLst/>
            <a:rect l="0" t="0" r="0" b="0"/>
            <a:pathLst>
              <a:path w="668338" h="179388">
                <a:moveTo>
                  <a:pt x="0" y="179387"/>
                </a:moveTo>
                <a:lnTo>
                  <a:pt x="66833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4157CB1F-5D48-97DA-227D-FC0D75BBBD3D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9017000" y="2409825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1314C7-1C96-4B06-9271-F5D85449B582}" type="datetime'0''''''''''''''''''.''''''''''''''''''''''''''''''''''8k'">
              <a:rPr lang="en-GB" altLang="en-US" sz="1400" smtClean="0"/>
              <a:pPr/>
              <a:t>0.8k</a:t>
            </a:fld>
            <a:endParaRPr lang="en-GB" sz="1400" dirty="0"/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D94E328C-AC58-B41F-A09B-BE493B750A73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0758488" y="3168650"/>
            <a:ext cx="930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77804EF-066B-44AD-B4CB-F4CD4BA2372B}" type="datetime'''N''o-di''sr''''up''''''ti''''on (bas''eli''''''ne)'">
              <a:rPr lang="en-GB" altLang="en-US" sz="1200" smtClean="0"/>
              <a:pPr/>
              <a:t>No-disruption (baseline)</a:t>
            </a:fld>
            <a:endParaRPr lang="en-GB" sz="1200" dirty="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2D7391B1-75EF-BA56-74A4-7A75D82216EC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9712325" y="3168650"/>
            <a:ext cx="10080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96879AF-81EF-49B3-8853-7A12585D1983}" type="datetime'''De''term''in''isti''c'''''''' (l''''a''''st'' hurricane)'">
              <a:rPr lang="en-GB" altLang="en-US" sz="1200" smtClean="0"/>
              <a:pPr/>
              <a:t>Deterministic (last hurricane)</a:t>
            </a:fld>
            <a:endParaRPr lang="en-GB" sz="1200" dirty="0"/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DB01473E-4C4A-823E-155F-5FB5311CBFC0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8008938" y="243205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C8A3F1-8135-4004-BA06-33CA4D3BD705}" type="datetime'''''''''''''''''''0.''''''''''''''''8''''k'''">
              <a:rPr lang="en-GB" altLang="en-US" sz="1400" smtClean="0"/>
              <a:pPr/>
              <a:t>0.8k</a:t>
            </a:fld>
            <a:endParaRPr lang="en-GB" sz="1400" dirty="0"/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56636020-ED81-BAD1-39EB-A9AFAA0A2B3D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6999288" y="2438400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FCE424-BB4C-42A1-ABEE-7EE91F735A9B}" type="datetime'''''''0''''.''''''''8''''''''''''''''''''''k'''">
              <a:rPr lang="en-GB" altLang="en-US" sz="1400" smtClean="0"/>
              <a:pPr/>
              <a:t>0.8k</a:t>
            </a:fld>
            <a:endParaRPr lang="en-GB" sz="1400" dirty="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A684FC44-0E38-CD3E-C2A2-7705B0C4A9B3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8848725" y="3168650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D7CB4D-3CEB-4617-925B-0442097DBA83}" type="datetime'S''to''''c''''''''h''ast''''ic'''' Un''''i''''''fo''''rm'''">
              <a:rPr lang="en-GB" altLang="en-US" sz="1200" smtClean="0"/>
              <a:pPr/>
              <a:t>Stochastic Uniform</a:t>
            </a:fld>
            <a:endParaRPr lang="en-GB" sz="1200" dirty="0"/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7C4D2CD7-F7FB-1939-CC62-8571D5B9D4E2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1034713" y="1925638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63229E-4175-4778-9FD2-77841EE11CF3}" type="datetime'''''''''1''''''''''''''''''''.''''''1''k'''''''''">
              <a:rPr lang="en-GB" altLang="en-US" sz="1400" smtClean="0"/>
              <a:pPr/>
              <a:t>1.1k</a:t>
            </a:fld>
            <a:endParaRPr lang="en-GB" sz="1400" dirty="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76288688-4DA4-9539-DD11-8861CD1FB5FA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0026650" y="2065338"/>
            <a:ext cx="379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71BDC9-0117-43C7-9BF3-1139F7B40070}" type="datetime'1''''''''''''''''''''''''.''''0''''''''''''''''''''''''k'">
              <a:rPr lang="en-GB" altLang="en-US" sz="1400" smtClean="0"/>
              <a:pPr/>
              <a:t>1.0k</a:t>
            </a:fld>
            <a:endParaRPr lang="en-GB" sz="1400" dirty="0"/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14547724-166B-295D-8044-B307F4E86663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7840663" y="3168650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357F813-B764-4105-8141-6A807FC83325}" type="datetime'''''Stocha''''s''t''''''ic L''i''n''''''''''''ear'">
              <a:rPr lang="en-GB" altLang="en-US" sz="1200" smtClean="0"/>
              <a:pPr/>
              <a:t>Stochastic Linear</a:t>
            </a:fld>
            <a:endParaRPr lang="en-GB" sz="1200" dirty="0"/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818E3828-33F2-E1F1-13BE-9537D00D85C6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778625" y="3168650"/>
            <a:ext cx="8191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10DC014-D49F-4E75-9A1E-867567919B82}" type="datetime'S''''''toc''''''hast''i''''c ''Expone''''''''''nci''''al'''''">
              <a:rPr lang="en-GB" altLang="en-US" sz="1200" smtClean="0"/>
              <a:pPr/>
              <a:t>Stochastic Exponencial</a:t>
            </a:fld>
            <a:endParaRPr lang="en-GB" sz="1200" dirty="0"/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B266FB8F-35F1-862F-21BD-67C499DE93E0}"/>
              </a:ext>
            </a:extLst>
          </p:cNvPr>
          <p:cNvSpPr txBox="1"/>
          <p:nvPr/>
        </p:nvSpPr>
        <p:spPr>
          <a:xfrm>
            <a:off x="1090036" y="1221127"/>
            <a:ext cx="1961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Total Cost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476B7A19-DF61-08B6-A7DC-63E7030EDC10}"/>
              </a:ext>
            </a:extLst>
          </p:cNvPr>
          <p:cNvSpPr txBox="1"/>
          <p:nvPr/>
        </p:nvSpPr>
        <p:spPr>
          <a:xfrm>
            <a:off x="6676859" y="1221127"/>
            <a:ext cx="2923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Unmet Demand (units)</a:t>
            </a:r>
          </a:p>
        </p:txBody>
      </p:sp>
      <p:graphicFrame>
        <p:nvGraphicFramePr>
          <p:cNvPr id="398" name="Chart 397">
            <a:extLst>
              <a:ext uri="{FF2B5EF4-FFF2-40B4-BE49-F238E27FC236}">
                <a16:creationId xmlns:a16="http://schemas.microsoft.com/office/drawing/2014/main" id="{2E13C3CE-74CD-E1AE-CF48-FEF383CDAD4F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664473266"/>
              </p:ext>
            </p:extLst>
          </p:nvPr>
        </p:nvGraphicFramePr>
        <p:xfrm>
          <a:off x="885825" y="4713288"/>
          <a:ext cx="5208588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>
        <p:nvSpPr>
          <p:cNvPr id="313" name="Text Placeholder 2">
            <a:extLst>
              <a:ext uri="{FF2B5EF4-FFF2-40B4-BE49-F238E27FC236}">
                <a16:creationId xmlns:a16="http://schemas.microsoft.com/office/drawing/2014/main" id="{4E9BC959-24EC-22EF-E15E-9B1623CA4123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2124075" y="5897563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974D0A-2E82-4FA6-88C0-8D50945C1549}" type="datetime'''S''to''''''''ch''a''s''ti''''''c ''L''in''''''e''a''''r'''''">
              <a:rPr lang="en-GB" altLang="en-US" sz="1200" smtClean="0"/>
              <a:pPr/>
              <a:t>Stochastic Linear</a:t>
            </a:fld>
            <a:endParaRPr lang="en-GB" sz="1200" dirty="0"/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5D3F6332-9B04-39F3-3220-5B812339875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3132138" y="5897563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17D0C3E-D443-4091-9CD9-A889B7C8A8E7}" type="datetime'''''S''''''''toch''''''as''tic'' ''''''Uni''''''f''o''''r''m'">
              <a:rPr lang="en-GB" altLang="en-US" sz="1200" smtClean="0"/>
              <a:pPr/>
              <a:t>Stochastic Uniform</a:t>
            </a:fld>
            <a:endParaRPr lang="en-GB" sz="1200" dirty="0"/>
          </a:p>
        </p:txBody>
      </p:sp>
      <p:sp>
        <p:nvSpPr>
          <p:cNvPr id="321" name="Text Placeholder 2">
            <a:extLst>
              <a:ext uri="{FF2B5EF4-FFF2-40B4-BE49-F238E27FC236}">
                <a16:creationId xmlns:a16="http://schemas.microsoft.com/office/drawing/2014/main" id="{D7D491A6-5F06-8623-9226-02DA3B821497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3995738" y="5897563"/>
            <a:ext cx="10080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49242C0-4DCE-41A0-BCF4-7241F3A28A77}" type="datetime'''D''e''te''rm''in''''is''ti''''c'' (last h''urri''''c''ane)'">
              <a:rPr lang="en-GB" altLang="en-US" sz="1200" smtClean="0"/>
              <a:pPr/>
              <a:t>Deterministic (last hurricane)</a:t>
            </a:fld>
            <a:endParaRPr lang="en-GB" sz="1200" dirty="0"/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C05BAEF5-DA0A-6493-6E0D-605701D5ABB7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5041900" y="5897563"/>
            <a:ext cx="930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899D086-0DFF-4C82-A454-9BE291E86D74}" type="datetime'No-''''''''d''''''is''''rupt''ion ''(ba''se''l''ine'')'''''''">
              <a:rPr lang="en-GB" altLang="en-US" sz="1200" smtClean="0"/>
              <a:pPr/>
              <a:t>No-disruption (baseline)</a:t>
            </a:fld>
            <a:endParaRPr lang="en-GB" sz="1200" dirty="0"/>
          </a:p>
        </p:txBody>
      </p:sp>
      <p:sp>
        <p:nvSpPr>
          <p:cNvPr id="318" name="Text Placeholder 2">
            <a:extLst>
              <a:ext uri="{FF2B5EF4-FFF2-40B4-BE49-F238E27FC236}">
                <a16:creationId xmlns:a16="http://schemas.microsoft.com/office/drawing/2014/main" id="{A6414048-251E-D018-4A4C-C9F138A06201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1062038" y="5897563"/>
            <a:ext cx="8191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F1E2C3-F8E5-4702-ACC1-72C32E1B9F51}" type="datetime'S''''to''''ch''''''astic Expo''''nenc''''''i''a''''''l'">
              <a:rPr lang="en-GB" altLang="en-US" sz="1200" smtClean="0"/>
              <a:pPr/>
              <a:t>Stochastic Exponencial</a:t>
            </a:fld>
            <a:endParaRPr lang="en-GB" sz="1200" dirty="0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A0E27757-060F-78F4-FB6A-217A49DE71AF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2244726" y="4583113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EBF24F-7BA6-4207-A87D-E29EEFDAC804}" type="datetime'''''''''''''''''''''4''''''''''''3''''''''.''''''6k'">
              <a:rPr lang="en-GB" altLang="en-US" sz="1400" smtClean="0"/>
              <a:pPr/>
              <a:t>43.6k</a:t>
            </a:fld>
            <a:endParaRPr lang="en-GB" sz="1400" dirty="0"/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0C8E47E7-F4E8-DCF3-96E1-CEE4813E3A68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3252789" y="4579938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860106-6F0C-4F62-A4FC-7BF41DDA29A8}" type="datetime'''''''''''4''3''''''''''''''''.''''''''''''''7''''''''''''k'''">
              <a:rPr lang="en-GB" altLang="en-US" sz="1400" smtClean="0"/>
              <a:pPr/>
              <a:t>43.7k</a:t>
            </a:fld>
            <a:endParaRPr lang="en-GB" sz="1400" dirty="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C128DD4F-6F50-3F31-232A-F409111E5E14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4262439" y="4735513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AE98AE-37DA-435C-A8C9-3E0F88FDDF12}" type="datetime'''''''''''''3''''''''7''''''.''''''''''''''''2''''''''''''k'">
              <a:rPr lang="en-GB" altLang="en-US" sz="1400" smtClean="0"/>
              <a:pPr/>
              <a:t>37.2k</a:t>
            </a:fld>
            <a:endParaRPr lang="en-GB" sz="1400" dirty="0"/>
          </a:p>
        </p:txBody>
      </p:sp>
      <p:sp>
        <p:nvSpPr>
          <p:cNvPr id="314" name="Text Placeholder 2">
            <a:extLst>
              <a:ext uri="{FF2B5EF4-FFF2-40B4-BE49-F238E27FC236}">
                <a16:creationId xmlns:a16="http://schemas.microsoft.com/office/drawing/2014/main" id="{B3F572D3-4BEB-7E77-3236-0B900051193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5270501" y="4776788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728FDA-0C93-4FA1-8C93-AF1AF7EEA21C}" type="datetime'''''''3''''''''''''''''''''5''''''''''''''''''.''''5''''k'''">
              <a:rPr lang="en-GB" altLang="en-US" sz="1400" smtClean="0"/>
              <a:pPr/>
              <a:t>35.5k</a:t>
            </a:fld>
            <a:endParaRPr lang="en-GB" sz="1400" dirty="0"/>
          </a:p>
        </p:txBody>
      </p:sp>
      <p:sp>
        <p:nvSpPr>
          <p:cNvPr id="319" name="Text Placeholder 2">
            <a:extLst>
              <a:ext uri="{FF2B5EF4-FFF2-40B4-BE49-F238E27FC236}">
                <a16:creationId xmlns:a16="http://schemas.microsoft.com/office/drawing/2014/main" id="{81F0A24C-8E28-1562-4538-587EEA546508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235076" y="4578350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C5648-0E98-4069-9685-CD8CC882A48E}" type="datetime'''''''''''''''''''''4''3''''.''''7''''''''''k'''''''">
              <a:rPr lang="en-GB" altLang="en-US" sz="1400" smtClean="0"/>
              <a:pPr/>
              <a:t>43.7k</a:t>
            </a:fld>
            <a:endParaRPr lang="en-GB" sz="1400" dirty="0"/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C699EDAA-FBB8-0D1D-D331-4225D741E8B6}"/>
              </a:ext>
            </a:extLst>
          </p:cNvPr>
          <p:cNvSpPr txBox="1"/>
          <p:nvPr/>
        </p:nvSpPr>
        <p:spPr>
          <a:xfrm>
            <a:off x="1090036" y="3910013"/>
            <a:ext cx="1961147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First Stage Cost</a:t>
            </a:r>
          </a:p>
        </p:txBody>
      </p:sp>
      <p:graphicFrame>
        <p:nvGraphicFramePr>
          <p:cNvPr id="427" name="Chart 426">
            <a:extLst>
              <a:ext uri="{FF2B5EF4-FFF2-40B4-BE49-F238E27FC236}">
                <a16:creationId xmlns:a16="http://schemas.microsoft.com/office/drawing/2014/main" id="{D173D84D-4BF8-0713-C635-082910CE5504}"/>
              </a:ext>
            </a:extLst>
          </p:cNvPr>
          <p:cNvGraphicFramePr/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487789708"/>
              </p:ext>
            </p:extLst>
          </p:nvPr>
        </p:nvGraphicFramePr>
        <p:xfrm>
          <a:off x="6602413" y="4713288"/>
          <a:ext cx="5208587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9C00457C-C4CE-636F-2525-679566F7DBEB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auto">
          <a:xfrm>
            <a:off x="7840663" y="5897563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F464B6-6CCF-4A12-9CD7-4B7FACF38DD4}" type="datetime'St''''o''''c''''has''t''''''i''c'''''' Li''''''n''''ear'''''''">
              <a:rPr lang="en-GB" altLang="en-US" sz="1200" smtClean="0"/>
              <a:pPr/>
              <a:t>Stochastic Linear</a:t>
            </a:fld>
            <a:endParaRPr lang="en-GB" sz="1200" dirty="0"/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CF4D5F65-A6DD-8298-420D-27EDB61892F4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8848725" y="5897563"/>
            <a:ext cx="7143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99B8F1-DE7C-485F-9C19-64D69EE77AEE}" type="datetime'''''''S''t''oc''ha''''''''''s''''tic'' Uni''f''''''or''''m'">
              <a:rPr lang="en-GB" altLang="en-US" sz="1200" smtClean="0"/>
              <a:pPr/>
              <a:t>Stochastic Uniform</a:t>
            </a:fld>
            <a:endParaRPr lang="en-GB" sz="1200" dirty="0"/>
          </a:p>
        </p:txBody>
      </p:sp>
      <p:sp>
        <p:nvSpPr>
          <p:cNvPr id="404" name="Text Placeholder 2">
            <a:extLst>
              <a:ext uri="{FF2B5EF4-FFF2-40B4-BE49-F238E27FC236}">
                <a16:creationId xmlns:a16="http://schemas.microsoft.com/office/drawing/2014/main" id="{47DA6212-F610-0646-2AD5-20B9B94EDB74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9712325" y="5897563"/>
            <a:ext cx="10080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1964E07-AB66-48DC-8B2C-66F1CA28F56D}" type="datetime'Determin''''''''ist''''''i''c ''''(''last h''urrica''ne'')'''">
              <a:rPr lang="en-GB" altLang="en-US" sz="1200" smtClean="0"/>
              <a:pPr/>
              <a:t>Deterministic (last hurricane)</a:t>
            </a:fld>
            <a:endParaRPr lang="en-GB" sz="1200" dirty="0"/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70EC58FE-786A-F116-7FB0-D85A3925B088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auto">
          <a:xfrm>
            <a:off x="10758488" y="5897563"/>
            <a:ext cx="9302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39C145A-404D-47FA-9E3E-69F7EC23BA3F}" type="datetime'N''o''-di''''s''''''r''u''pt''''i''''o''n (''bas''eli''''ne)'">
              <a:rPr lang="en-GB" altLang="en-US" sz="1200" smtClean="0"/>
              <a:pPr/>
              <a:t>No-disruption (baseline)</a:t>
            </a:fld>
            <a:endParaRPr lang="en-GB" sz="1200" dirty="0"/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4C5128DF-0D98-B1D5-EC4A-47AA274F6F71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6778625" y="5897563"/>
            <a:ext cx="8191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9AF2A16-EBF3-4265-BED8-63296468C4CA}" type="datetime'S''''to''c''''h''a''s''t''i''c'''''' Exp''''o''nenc''ial'''''">
              <a:rPr lang="en-GB" altLang="en-US" sz="1200" smtClean="0"/>
              <a:pPr/>
              <a:t>Stochastic Exponencial</a:t>
            </a:fld>
            <a:endParaRPr lang="en-GB" sz="1200" dirty="0"/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1D5EE2A3-8FA6-2C0A-B9C5-73CDEE92EA09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7961313" y="4587875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DC0100-37F6-4CB2-8E31-82C183C512D6}" type="datetime'''''''''''''''5''''''''7''''''''''.''''0''''''''''k'''''">
              <a:rPr lang="en-GB" altLang="en-US" sz="1400" smtClean="0"/>
              <a:pPr/>
              <a:t>57.0k</a:t>
            </a:fld>
            <a:endParaRPr lang="en-GB" sz="1400" dirty="0"/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6FC2087D-E9A9-C14C-EE50-E75EF95424B6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8969375" y="4625975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983F9F-A7A9-4D47-9AB4-09A6522E1346}" type="datetime'5''''''''''''4''''''''''.''''''''''''''''9''''''''''''k'">
              <a:rPr lang="en-GB" altLang="en-US" sz="1400" smtClean="0"/>
              <a:pPr/>
              <a:t>54.9k</a:t>
            </a:fld>
            <a:endParaRPr lang="en-GB" sz="1400" dirty="0"/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F67E661A-C275-9BAA-F8F7-6190264B18F7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9979025" y="5141913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8FA3D1-515C-4A5B-9BE3-75A041470A17}" type="datetime'26''''''''''''''''''''''''''.''7''''''''''''''''''''''''''''k'">
              <a:rPr lang="en-GB" altLang="en-US" sz="1400" smtClean="0"/>
              <a:pPr/>
              <a:t>26.7k</a:t>
            </a:fld>
            <a:endParaRPr lang="en-GB" sz="1400" dirty="0"/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60D3144C-9934-9F04-F459-CBA5477B704D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0987088" y="5189538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4BC72D-C3EB-42BD-93B4-E10603E90C17}" type="datetime'''''''''''''''2''''4''''''''.''1''k'''''''''''''''''''''''">
              <a:rPr lang="en-GB" altLang="en-US" sz="1400" smtClean="0"/>
              <a:pPr/>
              <a:t>24.1k</a:t>
            </a:fld>
            <a:endParaRPr lang="en-GB" sz="1400" dirty="0"/>
          </a:p>
        </p:txBody>
      </p:sp>
      <p:sp>
        <p:nvSpPr>
          <p:cNvPr id="411" name="Text Placeholder 2">
            <a:extLst>
              <a:ext uri="{FF2B5EF4-FFF2-40B4-BE49-F238E27FC236}">
                <a16:creationId xmlns:a16="http://schemas.microsoft.com/office/drawing/2014/main" id="{C19B6A02-9120-4BFA-84B3-CCD78F6D6EF7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6951663" y="4578350"/>
            <a:ext cx="474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F18FF5-AA6A-4010-B668-80534A070DB7}" type="datetime'''''''''''5''''''7''''''.5''''''''''''''''''''''''''''''''''k'">
              <a:rPr lang="en-GB" altLang="en-US" sz="1400" smtClean="0"/>
              <a:pPr/>
              <a:t>57.5k</a:t>
            </a:fld>
            <a:endParaRPr lang="en-GB" sz="1400" dirty="0"/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384EB4DE-2722-6050-1819-AAB3349146C6}"/>
              </a:ext>
            </a:extLst>
          </p:cNvPr>
          <p:cNvSpPr txBox="1"/>
          <p:nvPr/>
        </p:nvSpPr>
        <p:spPr>
          <a:xfrm>
            <a:off x="6676859" y="3910013"/>
            <a:ext cx="19621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hipment Cost</a:t>
            </a:r>
          </a:p>
        </p:txBody>
      </p:sp>
    </p:spTree>
    <p:extLst>
      <p:ext uri="{BB962C8B-B14F-4D97-AF65-F5344CB8AC3E}">
        <p14:creationId xmlns:p14="http://schemas.microsoft.com/office/powerpoint/2010/main" val="167902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9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tdug9xW.0hG4eUWmU1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ESMO4XLNQgUmVr_6.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WECJhLS5jQerLjVv5i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n2p9rRSLkIzb07yIn1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6kdzAF4aT.jZ7vgguj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.0Rd0nmefh2luuDj0c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PLWwAHQ05vIIbUq4ch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cvyHYlxKSJzMWf5gla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Y1nXMzJQoNJ4Ie85Ef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Jc1HMQHhFK4Efx1a2Q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zUwfeFjarXNsYonxeM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4WumH7awFXuQpBDmw6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5yeNQcs0dgLpNHs7jk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PwTiNxGhNFa590LOtY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1b44DMe6Qartie.2Ou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LJBKQ7rLgSyuR9ElK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SzqsmIPpagQpqKK5d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cx09JZFrQlCHEhyfFY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0Q8hti7wvpJmwOy3Yh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XicX0pCPF_4Ls2u7jk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hJDKXbh48geR7RCGl0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oowCvxWEF9TU_LiMBT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gGeiqroQda4GAXrgRk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Y3KxJfuz.Z0aLSsGN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J9GIfs_rNVxsd9mbI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TaQtgJHjFL5WOwi5BQ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9Q_1WZ10N3PAqX7.dn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rxDzrSzyQM7n0OEruz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2vyiw6_4ANirToACa5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URGJZgb1CcCvwZFM3Q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Z6IXbPms_xxr1Ms_Ze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HJnlpT0xhlVAWJS0S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uZ8gbFq_5V2MSB0pP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NrjdtZEazhbk_LQsn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HFQnd3ReLKdYKxewm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Ad4g7gE8cUu4Y4O2a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PpeqxqplEqh37X4PZq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uh8D.xcWudyVZNrpHB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3ILGbKbVqLBmRLqScM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8A7fPnYe_XCYazBb9o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N2HFg7KDVNAFXIbSEC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Di2xeCqexmpynduzMnl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RVLCk4.C9IiuXs291I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wBQV7HQixOa5iLxWGs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j2PJPsUIGZ_0fGmC4W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Qww_Z5gHoAnhaEn8qC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bGftI2OjFwz2AqmO_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mw0cFtZcjyRuxjtWq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RQ1oKZU7w1JrlAaFT7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gWdvW6wLP0ssdQEJB_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60j2bxVWD35Qa_Ut7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KaRrmkO2eGSyugBmc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lbRz8Z7sha8prUA3q_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vM6h7dM2z3rXRZw39N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2YZTadH06oOIHTCDNB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kEpXpQLR2pcC7717eY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HUpljFQ0Si6GIflfW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klz_y36PnkUNjNyyIv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06m5WpXFFLGS2PM1Ik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Vkt8zpanVz9flz9ywE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opKk01Qu.ImWUOhWvb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IN16v0ZaK.L9_oYEq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BAWadhBEehM9ghjOAHB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Xu0AXV1h36k7xbljzC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s2154rCszJBLsYvpTV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Ec1y1XCKkrIauSQL0m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Pa1GTVRS9qj.ias8Yp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Y8YehSD89i.b33VtP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aMMdsuSa5xlf6qimy.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6hzrIhAWT5AyX9R_Be4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SuqelmpDC22RT35PON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QFngdHDQ124J4mVa2x_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WfysMBbW4aWAfEEIb1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pyb2mqCOftwjbiMQouN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iJ0cgPQa8sDobt3Yz2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wQzV4L.bwYtbx4cAY0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JG4of7P5t.sykaX7cz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17Am2Qc_688oVdFUjJ4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3xFH4Tgi22eylLqjcX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TbTgjdCnx_bzqUfoyS_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3TJNkWIFXBp_dozkEd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jGtLSipYiOLWnUowQy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MvkeV2DBYKVOV.wdSP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Gdyk1FgaRs1_Taqb6z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8Rv7TiYGPwSzb20eNF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k_bxENq0P2DBRLRng1D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ENT3A1dlhBpvB8Iori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6y3ve_g.qWTqS1qki.s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62</Words>
  <Application>Microsoft Macintosh PowerPoint</Application>
  <PresentationFormat>Widescreen</PresentationFormat>
  <Paragraphs>5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io de Prospero Iglesias</dc:creator>
  <cp:lastModifiedBy>Caio de Prospero Iglesias</cp:lastModifiedBy>
  <cp:revision>3</cp:revision>
  <dcterms:created xsi:type="dcterms:W3CDTF">2025-05-09T03:02:36Z</dcterms:created>
  <dcterms:modified xsi:type="dcterms:W3CDTF">2025-05-09T04:15:06Z</dcterms:modified>
</cp:coreProperties>
</file>